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30T14:53:14.003" v="18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3-30T14:53:14.003" v="18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A4CFA2F4-FF8D-446B-B271-6DF568DBEADA}" dt="2026-03-30T14:51:14.527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3-30T14:51:23.419" v="4" actId="6549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55500</c:v>
                </c:pt>
                <c:pt idx="1">
                  <c:v>62400</c:v>
                </c:pt>
                <c:pt idx="2">
                  <c:v>86700</c:v>
                </c:pt>
                <c:pt idx="3">
                  <c:v>86700</c:v>
                </c:pt>
                <c:pt idx="4">
                  <c:v>92900</c:v>
                </c:pt>
                <c:pt idx="5">
                  <c:v>99900</c:v>
                </c:pt>
                <c:pt idx="6">
                  <c:v>107700</c:v>
                </c:pt>
                <c:pt idx="7">
                  <c:v>112100</c:v>
                </c:pt>
                <c:pt idx="8">
                  <c:v>114900</c:v>
                </c:pt>
                <c:pt idx="9">
                  <c:v>116400</c:v>
                </c:pt>
                <c:pt idx="10">
                  <c:v>191700</c:v>
                </c:pt>
                <c:pt idx="11">
                  <c:v>480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30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ffluence des voyageurs dans les gares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212004039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’embarquements et de débarquements par jour ouvré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9" y="6106515"/>
            <a:ext cx="7937248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es 12 gares les plus fréquentées sont représentées, en tenant compte des personnes montant et descendant des trains du chemin de fer; Bern: sans RBS; Basel SBB et Genève: les personnes montant et descendant des trains de et vers l’étranger ne sont que partiellement recensées; Zürich Stadelhofen: sans FB. Référence: année d’horaire 2025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96e82a89-ba48-4728-b345-cf206dbec8f1"/>
    <ds:schemaRef ds:uri="http://schemas.openxmlformats.org/package/2006/metadata/core-properties"/>
    <ds:schemaRef ds:uri="http://purl.org/dc/terms/"/>
    <ds:schemaRef ds:uri="2f5c8543-cf23-4718-a3b8-32b0a91d511a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1A0AA0-FEC6-49DF-9D95-3EE562D8C0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ce des voyageurs dans les gares e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ce des voyageurs dans les gares en 2024.</dc:title>
  <dc:creator>Meyer Raphael (KOM-PGA-VSF)</dc:creator>
  <cp:lastModifiedBy>Weigel Stefan (PAR-EPS)</cp:lastModifiedBy>
  <cp:revision>57</cp:revision>
  <dcterms:created xsi:type="dcterms:W3CDTF">2020-09-30T11:00:09Z</dcterms:created>
  <dcterms:modified xsi:type="dcterms:W3CDTF">2026-03-30T14:5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